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4"/>
  </p:notesMasterIdLst>
  <p:handoutMasterIdLst>
    <p:handoutMasterId r:id="rId45"/>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426" r:id="rId37"/>
    <p:sldId id="427" r:id="rId38"/>
    <p:sldId id="428" r:id="rId39"/>
    <p:sldId id="429" r:id="rId40"/>
    <p:sldId id="430" r:id="rId41"/>
    <p:sldId id="431" r:id="rId42"/>
    <p:sldId id="261" r:id="rId4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601"/>
    <p:restoredTop sz="91933"/>
  </p:normalViewPr>
  <p:slideViewPr>
    <p:cSldViewPr snapToGrid="0">
      <p:cViewPr varScale="1">
        <p:scale>
          <a:sx n="143" d="100"/>
          <a:sy n="143" d="100"/>
        </p:scale>
        <p:origin x="888" y="-5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7.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7.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48.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49.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7.png"/><Relationship Id="rId7" Type="http://schemas.openxmlformats.org/officeDocument/2006/relationships/image" Target="../media/image15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 Id="rId9" Type="http://schemas.openxmlformats.org/officeDocument/2006/relationships/image" Target="../media/image158.png"/></Relationships>
</file>

<file path=ppt/slides/_rels/slide4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4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513</TotalTime>
  <Words>3562</Words>
  <Application>Microsoft Macintosh PowerPoint</Application>
  <PresentationFormat>宽屏</PresentationFormat>
  <Paragraphs>638</Paragraphs>
  <Slides>41</Slides>
  <Notes>41</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1</vt:i4>
      </vt:variant>
    </vt:vector>
  </HeadingPairs>
  <TitlesOfParts>
    <vt:vector size="52" baseType="lpstr">
      <vt:lpstr>等线</vt:lpstr>
      <vt:lpstr>等线</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Energy dispatch – case study</vt:lpstr>
      <vt:lpstr>Energy dispatch – case study</vt:lpstr>
      <vt:lpstr>Energy dispatch – case study</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23</cp:revision>
  <cp:lastPrinted>2018-09-29T16:00:00Z</cp:lastPrinted>
  <dcterms:created xsi:type="dcterms:W3CDTF">2018-09-29T16:00:00Z</dcterms:created>
  <dcterms:modified xsi:type="dcterms:W3CDTF">2024-06-03T13: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